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53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26" autoAdjust="0"/>
  </p:normalViewPr>
  <p:slideViewPr>
    <p:cSldViewPr snapToGrid="0" snapToObjects="1">
      <p:cViewPr varScale="1">
        <p:scale>
          <a:sx n="45" d="100"/>
          <a:sy n="45" d="100"/>
        </p:scale>
        <p:origin x="702" y="33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032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2/18/2017 6:13 PM Easter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12/18/2017 6:1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896123" y="1940591"/>
            <a:ext cx="19909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2/18/2017 6:1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896123" y="1940591"/>
            <a:ext cx="19909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2/18/2017 6:1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8" Type="http://schemas.openxmlformats.org/officeDocument/2006/relationships/tags" Target="../tags/tag73.xml"/><Relationship Id="rId3" Type="http://schemas.openxmlformats.org/officeDocument/2006/relationships/tags" Target="../tags/tag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Process map template</a:t>
            </a:r>
            <a:endParaRPr lang="en-US" dirty="0"/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71308" y="303214"/>
            <a:ext cx="841964" cy="351961"/>
            <a:chOff x="5375364" y="95463"/>
            <a:chExt cx="841964" cy="351961"/>
          </a:xfrm>
        </p:grpSpPr>
        <p:grpSp>
          <p:nvGrpSpPr>
            <p:cNvPr id="9" name="Group 8"/>
            <p:cNvGrpSpPr/>
            <p:nvPr/>
          </p:nvGrpSpPr>
          <p:grpSpPr>
            <a:xfrm>
              <a:off x="5375364" y="282827"/>
              <a:ext cx="676853" cy="164597"/>
              <a:chOff x="5375364" y="425702"/>
              <a:chExt cx="676853" cy="164597"/>
            </a:xfrm>
          </p:grpSpPr>
          <p:sp>
            <p:nvSpPr>
              <p:cNvPr id="13" name="Legend4"/>
              <p:cNvSpPr>
                <a:spLocks noChangeArrowheads="1"/>
              </p:cNvSpPr>
              <p:nvPr/>
            </p:nvSpPr>
            <p:spPr bwMode="gray">
              <a:xfrm>
                <a:off x="5568110" y="436411"/>
                <a:ext cx="484107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 dirty="0">
                    <a:latin typeface="Calibri" pitchFamily="34" charset="0"/>
                  </a:rPr>
                  <a:t>Informed</a:t>
                </a:r>
              </a:p>
            </p:txBody>
          </p:sp>
          <p:sp>
            <p:nvSpPr>
              <p:cNvPr id="14" name="TextBox 19"/>
              <p:cNvSpPr txBox="1"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5375364" y="425702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I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375364" y="95463"/>
              <a:ext cx="841964" cy="164597"/>
              <a:chOff x="5375364" y="191318"/>
              <a:chExt cx="841964" cy="164597"/>
            </a:xfrm>
          </p:grpSpPr>
          <p:sp>
            <p:nvSpPr>
              <p:cNvPr id="11" name="Legend2"/>
              <p:cNvSpPr>
                <a:spLocks noChangeArrowheads="1"/>
              </p:cNvSpPr>
              <p:nvPr/>
            </p:nvSpPr>
            <p:spPr bwMode="gray">
              <a:xfrm>
                <a:off x="5568110" y="202027"/>
                <a:ext cx="649218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 dirty="0">
                    <a:latin typeface="Calibri" pitchFamily="34" charset="0"/>
                  </a:rPr>
                  <a:t>Accountable</a:t>
                </a:r>
              </a:p>
            </p:txBody>
          </p:sp>
          <p:sp>
            <p:nvSpPr>
              <p:cNvPr id="12" name="TextBox 19"/>
              <p:cNvSpPr txBox="1"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5375364" y="191318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A</a:t>
                </a: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6896301" y="303214"/>
            <a:ext cx="816314" cy="351961"/>
            <a:chOff x="5375364" y="-279265"/>
            <a:chExt cx="816314" cy="351961"/>
          </a:xfrm>
        </p:grpSpPr>
        <p:grpSp>
          <p:nvGrpSpPr>
            <p:cNvPr id="16" name="Group 15"/>
            <p:cNvGrpSpPr/>
            <p:nvPr/>
          </p:nvGrpSpPr>
          <p:grpSpPr>
            <a:xfrm>
              <a:off x="5375364" y="-91901"/>
              <a:ext cx="716928" cy="164597"/>
              <a:chOff x="5375364" y="-56673"/>
              <a:chExt cx="716928" cy="164597"/>
            </a:xfrm>
          </p:grpSpPr>
          <p:sp>
            <p:nvSpPr>
              <p:cNvPr id="20" name="Legend3"/>
              <p:cNvSpPr>
                <a:spLocks noChangeArrowheads="1"/>
              </p:cNvSpPr>
              <p:nvPr/>
            </p:nvSpPr>
            <p:spPr bwMode="gray">
              <a:xfrm>
                <a:off x="5568110" y="-45964"/>
                <a:ext cx="524182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>
                    <a:latin typeface="Calibri" pitchFamily="34" charset="0"/>
                  </a:rPr>
                  <a:t>Consulted</a:t>
                </a:r>
              </a:p>
            </p:txBody>
          </p:sp>
          <p:sp>
            <p:nvSpPr>
              <p:cNvPr id="21" name="TextBox 19"/>
              <p:cNvSpPr txBox="1"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5375364" y="-56673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C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375364" y="-279265"/>
              <a:ext cx="816314" cy="164597"/>
              <a:chOff x="5375364" y="-279265"/>
              <a:chExt cx="816314" cy="164597"/>
            </a:xfrm>
          </p:grpSpPr>
          <p:sp>
            <p:nvSpPr>
              <p:cNvPr id="18" name="Legend1"/>
              <p:cNvSpPr>
                <a:spLocks noChangeArrowheads="1"/>
              </p:cNvSpPr>
              <p:nvPr/>
            </p:nvSpPr>
            <p:spPr bwMode="gray">
              <a:xfrm>
                <a:off x="5568110" y="-268556"/>
                <a:ext cx="623568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>
                    <a:latin typeface="Calibri" pitchFamily="34" charset="0"/>
                  </a:rPr>
                  <a:t>Responsible</a:t>
                </a:r>
              </a:p>
            </p:txBody>
          </p:sp>
          <p:sp>
            <p:nvSpPr>
              <p:cNvPr id="19" name="TextBox 19"/>
              <p:cNvSpPr txBox="1"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5375364" y="-279265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R</a:t>
                </a:r>
              </a:p>
            </p:txBody>
          </p:sp>
        </p:grpSp>
      </p:grpSp>
      <p:sp>
        <p:nvSpPr>
          <p:cNvPr id="22" name="Rectangle 286"/>
          <p:cNvSpPr txBox="1">
            <a:spLocks noChangeArrowheads="1"/>
          </p:cNvSpPr>
          <p:nvPr/>
        </p:nvSpPr>
        <p:spPr bwMode="gray">
          <a:xfrm>
            <a:off x="3175" y="5133629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gray">
          <a:xfrm>
            <a:off x="3175" y="4520138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4" name="Rectangle 286"/>
          <p:cNvSpPr txBox="1">
            <a:spLocks noChangeArrowheads="1"/>
          </p:cNvSpPr>
          <p:nvPr/>
        </p:nvSpPr>
        <p:spPr bwMode="gray">
          <a:xfrm>
            <a:off x="3175" y="3908962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5" name="TextBox 19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8076098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26" name="Rectangle 286"/>
          <p:cNvSpPr txBox="1">
            <a:spLocks noChangeArrowheads="1"/>
          </p:cNvSpPr>
          <p:nvPr/>
        </p:nvSpPr>
        <p:spPr bwMode="gray">
          <a:xfrm>
            <a:off x="3175" y="5744805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7" name="Rectangle 286"/>
          <p:cNvSpPr txBox="1">
            <a:spLocks noChangeArrowheads="1"/>
          </p:cNvSpPr>
          <p:nvPr/>
        </p:nvSpPr>
        <p:spPr bwMode="gray">
          <a:xfrm>
            <a:off x="3175" y="2070803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8" name="TextBox 19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829384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9" name="TextBox 1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961972" y="2165454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0" name="TextBox 19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200237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1" name="TextBox 19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30010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2" name="Rectangle 286"/>
          <p:cNvSpPr txBox="1">
            <a:spLocks noChangeArrowheads="1"/>
          </p:cNvSpPr>
          <p:nvPr/>
        </p:nvSpPr>
        <p:spPr bwMode="gray">
          <a:xfrm>
            <a:off x="3175" y="2684294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33" name="TextBox 19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383743" y="2778947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4" name="TextBox 19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330010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5" name="TextBox 19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961972" y="2778947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6" name="Rectangle 286"/>
          <p:cNvSpPr txBox="1">
            <a:spLocks noChangeArrowheads="1"/>
          </p:cNvSpPr>
          <p:nvPr/>
        </p:nvSpPr>
        <p:spPr bwMode="gray">
          <a:xfrm>
            <a:off x="3175" y="3295470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37" name="TextBox 19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961972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 bwMode="gray">
          <a:xfrm>
            <a:off x="2467413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</p:cNvCxnSpPr>
          <p:nvPr/>
        </p:nvCxnSpPr>
        <p:spPr bwMode="gray">
          <a:xfrm>
            <a:off x="3346090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/>
        </p:nvCxnSpPr>
        <p:spPr bwMode="gray">
          <a:xfrm>
            <a:off x="4202237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cxnSpLocks/>
          </p:cNvCxnSpPr>
          <p:nvPr/>
        </p:nvCxnSpPr>
        <p:spPr bwMode="gray">
          <a:xfrm>
            <a:off x="5072464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 bwMode="gray">
          <a:xfrm>
            <a:off x="6069424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 bwMode="gray">
          <a:xfrm>
            <a:off x="6942468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 bwMode="gray">
          <a:xfrm>
            <a:off x="7812697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gray">
          <a:xfrm>
            <a:off x="3175" y="2038392"/>
            <a:ext cx="8848725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19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961972" y="5839458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47" name="TextBox 19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829384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</a:t>
            </a:r>
          </a:p>
        </p:txBody>
      </p:sp>
      <p:sp>
        <p:nvSpPr>
          <p:cNvPr id="48" name="TextBox 19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83743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49" name="TextBox 19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200237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0" name="TextBox 19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200237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51" name="TextBox 19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200237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2" name="TextBox 19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829384" y="401750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3" name="TextBox 19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29384" y="4628680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4" name="TextBox 19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383743" y="2165454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55" name="TextBox 19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383743" y="5839458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56" name="TextBox 19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586962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57" name="TextBox 19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3586962" y="401750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8" name="TextBox 19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586962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9" name="TextBox 19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462821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60" name="TextBox 19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462821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61" name="TextBox 19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462821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62" name="Pentagon 61"/>
          <p:cNvSpPr>
            <a:spLocks/>
          </p:cNvSpPr>
          <p:nvPr/>
        </p:nvSpPr>
        <p:spPr bwMode="gray">
          <a:xfrm>
            <a:off x="1608450" y="876520"/>
            <a:ext cx="1056103" cy="1136471"/>
          </a:xfrm>
          <a:prstGeom prst="homePlate">
            <a:avLst>
              <a:gd name="adj" fmla="val 17599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 marL="58738"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3" name="Chevron 62"/>
          <p:cNvSpPr>
            <a:spLocks/>
          </p:cNvSpPr>
          <p:nvPr/>
        </p:nvSpPr>
        <p:spPr bwMode="gray">
          <a:xfrm>
            <a:off x="2475861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4" name="Chevron 63"/>
          <p:cNvSpPr>
            <a:spLocks/>
          </p:cNvSpPr>
          <p:nvPr/>
        </p:nvSpPr>
        <p:spPr bwMode="gray">
          <a:xfrm>
            <a:off x="3362988" y="876520"/>
            <a:ext cx="1160304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5" name="Chevron 64"/>
          <p:cNvSpPr>
            <a:spLocks/>
          </p:cNvSpPr>
          <p:nvPr/>
        </p:nvSpPr>
        <p:spPr bwMode="gray">
          <a:xfrm>
            <a:off x="4244480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6" name="Chevron 65"/>
          <p:cNvSpPr>
            <a:spLocks/>
          </p:cNvSpPr>
          <p:nvPr/>
        </p:nvSpPr>
        <p:spPr bwMode="gray">
          <a:xfrm>
            <a:off x="5128789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7" name="Chevron 66"/>
          <p:cNvSpPr>
            <a:spLocks/>
          </p:cNvSpPr>
          <p:nvPr/>
        </p:nvSpPr>
        <p:spPr bwMode="gray">
          <a:xfrm>
            <a:off x="6032813" y="876520"/>
            <a:ext cx="1056101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8" name="Chevron 67"/>
          <p:cNvSpPr>
            <a:spLocks/>
          </p:cNvSpPr>
          <p:nvPr/>
        </p:nvSpPr>
        <p:spPr bwMode="gray">
          <a:xfrm>
            <a:off x="6914305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9" name="Chevron 68"/>
          <p:cNvSpPr>
            <a:spLocks/>
          </p:cNvSpPr>
          <p:nvPr/>
        </p:nvSpPr>
        <p:spPr bwMode="gray">
          <a:xfrm>
            <a:off x="7795799" y="876520"/>
            <a:ext cx="1056101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70" name="TextBox 19"/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95956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1" name="TextBox 19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804450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2" name="TextBox 19"/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708473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3" name="TextBox 19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589967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4" name="TextBox 19"/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47145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5" name="TextBox 19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372666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TextBox 19"/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25415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7" name="TextBox 19"/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132836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55669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J.R. Maxwell\Documents\Org Lab\Org Lab for Process Design\Example Process Design Decks\Process map templat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63</Words>
  <Application>Microsoft Office PowerPoint</Application>
  <PresentationFormat>Custom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Firm Format - template_Blue</vt:lpstr>
      <vt:lpstr>Firm Format - template_Grey</vt:lpstr>
      <vt:lpstr>think-cell Slide</vt:lpstr>
      <vt:lpstr>Process map template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2-18T23:11:44Z</dcterms:created>
  <dcterms:modified xsi:type="dcterms:W3CDTF">2017-12-18T23:13:47Z</dcterms:modified>
  <cp:category/>
  <cp:contentStatus/>
  <dc:language/>
  <cp:version/>
</cp:coreProperties>
</file>